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1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318BA8-9BC1-92B8-1009-AE8ED6459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3FCE64A6-011A-5DF7-436A-7D3CEAB9CE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CE64A6-011A-5DF7-436A-7D3CEAB9CE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E58421-F577-B094-76BC-3A10895F6C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E75B700-C195-5BF8-F78D-BF771CC7D7B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4F4E2D3-AA47-5976-4615-4D8736DA5238}"/>
              </a:ext>
            </a:extLst>
          </p:cNvPr>
          <p:cNvGrpSpPr/>
          <p:nvPr/>
        </p:nvGrpSpPr>
        <p:grpSpPr>
          <a:xfrm>
            <a:off x="4178592" y="1846175"/>
            <a:ext cx="3655696" cy="3651800"/>
            <a:chOff x="6633029" y="3238291"/>
            <a:chExt cx="6012393" cy="6005986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036B9A0-F007-FD71-D20E-0AAC3686CC11}"/>
                </a:ext>
              </a:extLst>
            </p:cNvPr>
            <p:cNvGrpSpPr/>
            <p:nvPr/>
          </p:nvGrpSpPr>
          <p:grpSpPr>
            <a:xfrm>
              <a:off x="6633029" y="3238291"/>
              <a:ext cx="6012393" cy="6005986"/>
              <a:chOff x="6553213" y="3112635"/>
              <a:chExt cx="6343563" cy="6336804"/>
            </a:xfrm>
          </p:grpSpPr>
          <p:sp>
            <p:nvSpPr>
              <p:cNvPr id="16" name="Rectangle 10">
                <a:extLst>
                  <a:ext uri="{FF2B5EF4-FFF2-40B4-BE49-F238E27FC236}">
                    <a16:creationId xmlns:a16="http://schemas.microsoft.com/office/drawing/2014/main" id="{038A9225-5ABC-14DA-9065-9D37C6656F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31756" y="6149161"/>
                <a:ext cx="3382" cy="338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17" name="Freeform 11">
                <a:extLst>
                  <a:ext uri="{FF2B5EF4-FFF2-40B4-BE49-F238E27FC236}">
                    <a16:creationId xmlns:a16="http://schemas.microsoft.com/office/drawing/2014/main" id="{7F11A43C-C003-4435-1C1E-4C730E44E1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6" y="614916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18" name="Freeform 14">
                <a:extLst>
                  <a:ext uri="{FF2B5EF4-FFF2-40B4-BE49-F238E27FC236}">
                    <a16:creationId xmlns:a16="http://schemas.microsoft.com/office/drawing/2014/main" id="{02BF2370-6042-937C-7022-E9DEA9119F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7" y="6423058"/>
                <a:ext cx="2170878" cy="2170878"/>
              </a:xfrm>
              <a:custGeom>
                <a:avLst/>
                <a:gdLst>
                  <a:gd name="T0" fmla="*/ 0 w 642"/>
                  <a:gd name="T1" fmla="*/ 0 h 642"/>
                  <a:gd name="T2" fmla="*/ 0 w 642"/>
                  <a:gd name="T3" fmla="*/ 2 h 642"/>
                  <a:gd name="T4" fmla="*/ 640 w 642"/>
                  <a:gd name="T5" fmla="*/ 641 h 642"/>
                  <a:gd name="T6" fmla="*/ 642 w 642"/>
                  <a:gd name="T7" fmla="*/ 642 h 642"/>
                  <a:gd name="T8" fmla="*/ 0 w 642"/>
                  <a:gd name="T9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2" h="642">
                    <a:moveTo>
                      <a:pt x="0" y="0"/>
                    </a:moveTo>
                    <a:lnTo>
                      <a:pt x="0" y="2"/>
                    </a:lnTo>
                    <a:lnTo>
                      <a:pt x="640" y="641"/>
                    </a:lnTo>
                    <a:lnTo>
                      <a:pt x="642" y="6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19" name="Freeform 15">
                <a:extLst>
                  <a:ext uri="{FF2B5EF4-FFF2-40B4-BE49-F238E27FC236}">
                    <a16:creationId xmlns:a16="http://schemas.microsoft.com/office/drawing/2014/main" id="{F4752234-C1E4-738E-E966-E016F21CF7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7" y="6423058"/>
                <a:ext cx="2170878" cy="2170878"/>
              </a:xfrm>
              <a:custGeom>
                <a:avLst/>
                <a:gdLst>
                  <a:gd name="T0" fmla="*/ 0 w 642"/>
                  <a:gd name="T1" fmla="*/ 0 h 642"/>
                  <a:gd name="T2" fmla="*/ 0 w 642"/>
                  <a:gd name="T3" fmla="*/ 2 h 642"/>
                  <a:gd name="T4" fmla="*/ 640 w 642"/>
                  <a:gd name="T5" fmla="*/ 641 h 642"/>
                  <a:gd name="T6" fmla="*/ 642 w 642"/>
                  <a:gd name="T7" fmla="*/ 642 h 642"/>
                  <a:gd name="T8" fmla="*/ 0 w 642"/>
                  <a:gd name="T9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2" h="642">
                    <a:moveTo>
                      <a:pt x="0" y="0"/>
                    </a:moveTo>
                    <a:lnTo>
                      <a:pt x="0" y="2"/>
                    </a:lnTo>
                    <a:lnTo>
                      <a:pt x="640" y="641"/>
                    </a:lnTo>
                    <a:lnTo>
                      <a:pt x="642" y="64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0" name="Freeform 17">
                <a:extLst>
                  <a:ext uri="{FF2B5EF4-FFF2-40B4-BE49-F238E27FC236}">
                    <a16:creationId xmlns:a16="http://schemas.microsoft.com/office/drawing/2014/main" id="{5756007F-077C-B0B6-92E5-996D53DCEC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6" y="6429821"/>
                <a:ext cx="2164115" cy="2160735"/>
              </a:xfrm>
              <a:custGeom>
                <a:avLst/>
                <a:gdLst>
                  <a:gd name="T0" fmla="*/ 0 w 640"/>
                  <a:gd name="T1" fmla="*/ 0 h 639"/>
                  <a:gd name="T2" fmla="*/ 0 w 640"/>
                  <a:gd name="T3" fmla="*/ 100 h 639"/>
                  <a:gd name="T4" fmla="*/ 640 w 640"/>
                  <a:gd name="T5" fmla="*/ 639 h 639"/>
                  <a:gd name="T6" fmla="*/ 0 w 640"/>
                  <a:gd name="T7" fmla="*/ 0 h 6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0" h="639">
                    <a:moveTo>
                      <a:pt x="0" y="0"/>
                    </a:moveTo>
                    <a:lnTo>
                      <a:pt x="0" y="100"/>
                    </a:lnTo>
                    <a:lnTo>
                      <a:pt x="640" y="639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1" name="Freeform 18">
                <a:extLst>
                  <a:ext uri="{FF2B5EF4-FFF2-40B4-BE49-F238E27FC236}">
                    <a16:creationId xmlns:a16="http://schemas.microsoft.com/office/drawing/2014/main" id="{D5EECDDC-605B-D2D4-12E4-0E1BE74248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5621" y="6287800"/>
                <a:ext cx="2167498" cy="2167498"/>
              </a:xfrm>
              <a:custGeom>
                <a:avLst/>
                <a:gdLst>
                  <a:gd name="T0" fmla="*/ 641 w 641"/>
                  <a:gd name="T1" fmla="*/ 0 h 641"/>
                  <a:gd name="T2" fmla="*/ 641 w 641"/>
                  <a:gd name="T3" fmla="*/ 0 h 641"/>
                  <a:gd name="T4" fmla="*/ 0 w 641"/>
                  <a:gd name="T5" fmla="*/ 640 h 641"/>
                  <a:gd name="T6" fmla="*/ 0 w 641"/>
                  <a:gd name="T7" fmla="*/ 641 h 641"/>
                  <a:gd name="T8" fmla="*/ 641 w 641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1">
                    <a:moveTo>
                      <a:pt x="641" y="0"/>
                    </a:moveTo>
                    <a:lnTo>
                      <a:pt x="641" y="0"/>
                    </a:lnTo>
                    <a:lnTo>
                      <a:pt x="0" y="640"/>
                    </a:lnTo>
                    <a:lnTo>
                      <a:pt x="0" y="641"/>
                    </a:lnTo>
                    <a:lnTo>
                      <a:pt x="64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2" name="Freeform 19">
                <a:extLst>
                  <a:ext uri="{FF2B5EF4-FFF2-40B4-BE49-F238E27FC236}">
                    <a16:creationId xmlns:a16="http://schemas.microsoft.com/office/drawing/2014/main" id="{D80ED341-D609-F2BA-1EFB-E370308A83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5621" y="6287800"/>
                <a:ext cx="2167498" cy="2167498"/>
              </a:xfrm>
              <a:custGeom>
                <a:avLst/>
                <a:gdLst>
                  <a:gd name="T0" fmla="*/ 641 w 641"/>
                  <a:gd name="T1" fmla="*/ 0 h 641"/>
                  <a:gd name="T2" fmla="*/ 641 w 641"/>
                  <a:gd name="T3" fmla="*/ 0 h 641"/>
                  <a:gd name="T4" fmla="*/ 0 w 641"/>
                  <a:gd name="T5" fmla="*/ 640 h 641"/>
                  <a:gd name="T6" fmla="*/ 0 w 641"/>
                  <a:gd name="T7" fmla="*/ 641 h 641"/>
                  <a:gd name="T8" fmla="*/ 641 w 641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1">
                    <a:moveTo>
                      <a:pt x="641" y="0"/>
                    </a:moveTo>
                    <a:lnTo>
                      <a:pt x="641" y="0"/>
                    </a:lnTo>
                    <a:lnTo>
                      <a:pt x="0" y="640"/>
                    </a:lnTo>
                    <a:lnTo>
                      <a:pt x="0" y="641"/>
                    </a:lnTo>
                    <a:lnTo>
                      <a:pt x="64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3" name="Freeform 21">
                <a:extLst>
                  <a:ext uri="{FF2B5EF4-FFF2-40B4-BE49-F238E27FC236}">
                    <a16:creationId xmlns:a16="http://schemas.microsoft.com/office/drawing/2014/main" id="{9E7A43CC-D291-1B87-49D1-B62185E796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5621" y="6287800"/>
                <a:ext cx="2167498" cy="2164115"/>
              </a:xfrm>
              <a:custGeom>
                <a:avLst/>
                <a:gdLst>
                  <a:gd name="T0" fmla="*/ 641 w 641"/>
                  <a:gd name="T1" fmla="*/ 0 h 640"/>
                  <a:gd name="T2" fmla="*/ 540 w 641"/>
                  <a:gd name="T3" fmla="*/ 0 h 640"/>
                  <a:gd name="T4" fmla="*/ 0 w 641"/>
                  <a:gd name="T5" fmla="*/ 640 h 640"/>
                  <a:gd name="T6" fmla="*/ 641 w 641"/>
                  <a:gd name="T7" fmla="*/ 0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1" h="640">
                    <a:moveTo>
                      <a:pt x="641" y="0"/>
                    </a:moveTo>
                    <a:lnTo>
                      <a:pt x="540" y="0"/>
                    </a:lnTo>
                    <a:lnTo>
                      <a:pt x="0" y="640"/>
                    </a:lnTo>
                    <a:lnTo>
                      <a:pt x="64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4" name="Rectangle 22">
                <a:extLst>
                  <a:ext uri="{FF2B5EF4-FFF2-40B4-BE49-F238E27FC236}">
                    <a16:creationId xmlns:a16="http://schemas.microsoft.com/office/drawing/2014/main" id="{2DF18362-8E99-2C96-0F93-9E38B74BBC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41274" y="8455296"/>
                <a:ext cx="3382" cy="338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5" name="Freeform 23">
                <a:extLst>
                  <a:ext uri="{FF2B5EF4-FFF2-40B4-BE49-F238E27FC236}">
                    <a16:creationId xmlns:a16="http://schemas.microsoft.com/office/drawing/2014/main" id="{F49A3218-23B1-FFDC-BA20-886CB625C4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41274" y="845529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E16DB502-27EC-188D-D83D-1134D8530E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73776" y="6287800"/>
                <a:ext cx="2167498" cy="2167498"/>
              </a:xfrm>
              <a:custGeom>
                <a:avLst/>
                <a:gdLst>
                  <a:gd name="T0" fmla="*/ 100 w 641"/>
                  <a:gd name="T1" fmla="*/ 0 h 641"/>
                  <a:gd name="T2" fmla="*/ 0 w 641"/>
                  <a:gd name="T3" fmla="*/ 0 h 641"/>
                  <a:gd name="T4" fmla="*/ 641 w 641"/>
                  <a:gd name="T5" fmla="*/ 641 h 641"/>
                  <a:gd name="T6" fmla="*/ 641 w 641"/>
                  <a:gd name="T7" fmla="*/ 641 h 641"/>
                  <a:gd name="T8" fmla="*/ 100 w 641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1">
                    <a:moveTo>
                      <a:pt x="100" y="0"/>
                    </a:moveTo>
                    <a:lnTo>
                      <a:pt x="0" y="0"/>
                    </a:lnTo>
                    <a:lnTo>
                      <a:pt x="641" y="641"/>
                    </a:lnTo>
                    <a:lnTo>
                      <a:pt x="641" y="641"/>
                    </a:lnTo>
                    <a:lnTo>
                      <a:pt x="10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7" name="Freeform 27">
                <a:extLst>
                  <a:ext uri="{FF2B5EF4-FFF2-40B4-BE49-F238E27FC236}">
                    <a16:creationId xmlns:a16="http://schemas.microsoft.com/office/drawing/2014/main" id="{F0A85684-53EF-90F4-E84E-D7A5817AB6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7" y="3981665"/>
                <a:ext cx="2170878" cy="2167498"/>
              </a:xfrm>
              <a:custGeom>
                <a:avLst/>
                <a:gdLst>
                  <a:gd name="T0" fmla="*/ 642 w 642"/>
                  <a:gd name="T1" fmla="*/ 0 h 641"/>
                  <a:gd name="T2" fmla="*/ 640 w 642"/>
                  <a:gd name="T3" fmla="*/ 2 h 641"/>
                  <a:gd name="T4" fmla="*/ 0 w 642"/>
                  <a:gd name="T5" fmla="*/ 641 h 641"/>
                  <a:gd name="T6" fmla="*/ 0 w 642"/>
                  <a:gd name="T7" fmla="*/ 641 h 641"/>
                  <a:gd name="T8" fmla="*/ 642 w 642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2" h="641">
                    <a:moveTo>
                      <a:pt x="642" y="0"/>
                    </a:moveTo>
                    <a:lnTo>
                      <a:pt x="640" y="2"/>
                    </a:lnTo>
                    <a:lnTo>
                      <a:pt x="0" y="641"/>
                    </a:lnTo>
                    <a:lnTo>
                      <a:pt x="0" y="641"/>
                    </a:lnTo>
                    <a:lnTo>
                      <a:pt x="64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8" name="Rectangle 30">
                <a:extLst>
                  <a:ext uri="{FF2B5EF4-FFF2-40B4-BE49-F238E27FC236}">
                    <a16:creationId xmlns:a16="http://schemas.microsoft.com/office/drawing/2014/main" id="{2A997612-0B62-2BC7-3A04-E548A6F424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31756" y="6423058"/>
                <a:ext cx="3382" cy="6763"/>
              </a:xfrm>
              <a:prstGeom prst="rect">
                <a:avLst/>
              </a:prstGeom>
              <a:solidFill>
                <a:srgbClr val="8C8C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9" name="Freeform 31">
                <a:extLst>
                  <a:ext uri="{FF2B5EF4-FFF2-40B4-BE49-F238E27FC236}">
                    <a16:creationId xmlns:a16="http://schemas.microsoft.com/office/drawing/2014/main" id="{8AE75FF1-2E36-B01B-0AE3-4156153037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6" y="6423058"/>
                <a:ext cx="0" cy="6763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30" name="Freeform 33">
                <a:extLst>
                  <a:ext uri="{FF2B5EF4-FFF2-40B4-BE49-F238E27FC236}">
                    <a16:creationId xmlns:a16="http://schemas.microsoft.com/office/drawing/2014/main" id="{A626FADC-07E3-CDE6-5F36-32FF0BF0A6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4260" y="6429820"/>
                <a:ext cx="2167498" cy="2164115"/>
              </a:xfrm>
              <a:custGeom>
                <a:avLst/>
                <a:gdLst>
                  <a:gd name="T0" fmla="*/ 641 w 641"/>
                  <a:gd name="T1" fmla="*/ 0 h 640"/>
                  <a:gd name="T2" fmla="*/ 0 w 641"/>
                  <a:gd name="T3" fmla="*/ 640 h 640"/>
                  <a:gd name="T4" fmla="*/ 641 w 641"/>
                  <a:gd name="T5" fmla="*/ 100 h 640"/>
                  <a:gd name="T6" fmla="*/ 641 w 641"/>
                  <a:gd name="T7" fmla="*/ 0 h 640"/>
                  <a:gd name="T8" fmla="*/ 641 w 641"/>
                  <a:gd name="T9" fmla="*/ 0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0">
                    <a:moveTo>
                      <a:pt x="641" y="0"/>
                    </a:moveTo>
                    <a:lnTo>
                      <a:pt x="0" y="640"/>
                    </a:lnTo>
                    <a:lnTo>
                      <a:pt x="641" y="100"/>
                    </a:lnTo>
                    <a:lnTo>
                      <a:pt x="641" y="0"/>
                    </a:lnTo>
                    <a:lnTo>
                      <a:pt x="64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31" name="Freeform 35">
                <a:extLst>
                  <a:ext uri="{FF2B5EF4-FFF2-40B4-BE49-F238E27FC236}">
                    <a16:creationId xmlns:a16="http://schemas.microsoft.com/office/drawing/2014/main" id="{B0A2535A-7082-C1EA-3902-BEF522DA86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5621" y="4120302"/>
                <a:ext cx="2167498" cy="2167498"/>
              </a:xfrm>
              <a:custGeom>
                <a:avLst/>
                <a:gdLst>
                  <a:gd name="T0" fmla="*/ 0 w 641"/>
                  <a:gd name="T1" fmla="*/ 0 h 641"/>
                  <a:gd name="T2" fmla="*/ 0 w 641"/>
                  <a:gd name="T3" fmla="*/ 2 h 641"/>
                  <a:gd name="T4" fmla="*/ 641 w 641"/>
                  <a:gd name="T5" fmla="*/ 641 h 641"/>
                  <a:gd name="T6" fmla="*/ 641 w 641"/>
                  <a:gd name="T7" fmla="*/ 641 h 641"/>
                  <a:gd name="T8" fmla="*/ 0 w 641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1">
                    <a:moveTo>
                      <a:pt x="0" y="0"/>
                    </a:moveTo>
                    <a:lnTo>
                      <a:pt x="0" y="2"/>
                    </a:lnTo>
                    <a:lnTo>
                      <a:pt x="641" y="641"/>
                    </a:lnTo>
                    <a:lnTo>
                      <a:pt x="641" y="64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32" name="Rectangle 38">
                <a:extLst>
                  <a:ext uri="{FF2B5EF4-FFF2-40B4-BE49-F238E27FC236}">
                    <a16:creationId xmlns:a16="http://schemas.microsoft.com/office/drawing/2014/main" id="{80311312-971E-F34A-CD55-661B04C8BB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41274" y="4120302"/>
                <a:ext cx="3382" cy="3382"/>
              </a:xfrm>
              <a:prstGeom prst="rect">
                <a:avLst/>
              </a:prstGeom>
              <a:solidFill>
                <a:srgbClr val="8C8C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33" name="Freeform 39">
                <a:extLst>
                  <a:ext uri="{FF2B5EF4-FFF2-40B4-BE49-F238E27FC236}">
                    <a16:creationId xmlns:a16="http://schemas.microsoft.com/office/drawing/2014/main" id="{98E66131-4205-63B3-CBAC-33CB6A0514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41274" y="412030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E8390E22-D3C1-C543-87C4-1A4BEE7A0D8C}"/>
                  </a:ext>
                </a:extLst>
              </p:cNvPr>
              <p:cNvGrpSpPr/>
              <p:nvPr/>
            </p:nvGrpSpPr>
            <p:grpSpPr>
              <a:xfrm>
                <a:off x="7564264" y="3112635"/>
                <a:ext cx="4338376" cy="3023001"/>
                <a:chOff x="3551239" y="1463675"/>
                <a:chExt cx="2036763" cy="1419226"/>
              </a:xfrm>
            </p:grpSpPr>
            <p:sp>
              <p:nvSpPr>
                <p:cNvPr id="47" name="Freeform 6">
                  <a:extLst>
                    <a:ext uri="{FF2B5EF4-FFF2-40B4-BE49-F238E27FC236}">
                      <a16:creationId xmlns:a16="http://schemas.microsoft.com/office/drawing/2014/main" id="{BCA6E2C0-A0EA-DF64-7826-7E9B6BCE94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1239" y="1463675"/>
                  <a:ext cx="2036763" cy="1419225"/>
                </a:xfrm>
                <a:custGeom>
                  <a:avLst/>
                  <a:gdLst>
                    <a:gd name="T0" fmla="*/ 485 w 971"/>
                    <a:gd name="T1" fmla="*/ 0 h 677"/>
                    <a:gd name="T2" fmla="*/ 0 w 971"/>
                    <a:gd name="T3" fmla="*/ 192 h 677"/>
                    <a:gd name="T4" fmla="*/ 485 w 971"/>
                    <a:gd name="T5" fmla="*/ 677 h 677"/>
                    <a:gd name="T6" fmla="*/ 971 w 971"/>
                    <a:gd name="T7" fmla="*/ 192 h 677"/>
                    <a:gd name="T8" fmla="*/ 485 w 971"/>
                    <a:gd name="T9" fmla="*/ 0 h 6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71" h="677">
                      <a:moveTo>
                        <a:pt x="485" y="0"/>
                      </a:moveTo>
                      <a:cubicBezTo>
                        <a:pt x="298" y="0"/>
                        <a:pt x="127" y="73"/>
                        <a:pt x="0" y="192"/>
                      </a:cubicBezTo>
                      <a:cubicBezTo>
                        <a:pt x="485" y="677"/>
                        <a:pt x="485" y="677"/>
                        <a:pt x="485" y="677"/>
                      </a:cubicBezTo>
                      <a:cubicBezTo>
                        <a:pt x="971" y="192"/>
                        <a:pt x="971" y="192"/>
                        <a:pt x="971" y="192"/>
                      </a:cubicBezTo>
                      <a:cubicBezTo>
                        <a:pt x="844" y="73"/>
                        <a:pt x="673" y="0"/>
                        <a:pt x="485" y="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194770" tIns="97385" rIns="194770" bIns="9738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3600" dirty="0"/>
                </a:p>
              </p:txBody>
            </p:sp>
            <p:sp>
              <p:nvSpPr>
                <p:cNvPr id="49" name="Freeform 29">
                  <a:extLst>
                    <a:ext uri="{FF2B5EF4-FFF2-40B4-BE49-F238E27FC236}">
                      <a16:creationId xmlns:a16="http://schemas.microsoft.com/office/drawing/2014/main" id="{6501A766-6495-6AEB-8137-4C12045DA1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68825" y="1868488"/>
                  <a:ext cx="1016000" cy="1014413"/>
                </a:xfrm>
                <a:custGeom>
                  <a:avLst/>
                  <a:gdLst>
                    <a:gd name="T0" fmla="*/ 640 w 640"/>
                    <a:gd name="T1" fmla="*/ 0 h 639"/>
                    <a:gd name="T2" fmla="*/ 0 w 640"/>
                    <a:gd name="T3" fmla="*/ 538 h 639"/>
                    <a:gd name="T4" fmla="*/ 0 w 640"/>
                    <a:gd name="T5" fmla="*/ 639 h 639"/>
                    <a:gd name="T6" fmla="*/ 640 w 640"/>
                    <a:gd name="T7" fmla="*/ 0 h 6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40" h="639">
                      <a:moveTo>
                        <a:pt x="640" y="0"/>
                      </a:moveTo>
                      <a:lnTo>
                        <a:pt x="0" y="538"/>
                      </a:lnTo>
                      <a:lnTo>
                        <a:pt x="0" y="639"/>
                      </a:lnTo>
                      <a:lnTo>
                        <a:pt x="640" y="0"/>
                      </a:lnTo>
                    </a:path>
                  </a:pathLst>
                </a:custGeom>
                <a:solidFill>
                  <a:schemeClr val="tx1">
                    <a:alpha val="40000"/>
                  </a:schemeClr>
                </a:solidFill>
                <a:ln>
                  <a:noFill/>
                </a:ln>
              </p:spPr>
              <p:txBody>
                <a:bodyPr vert="horz" wrap="square" lIns="194770" tIns="97385" rIns="194770" bIns="9738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3600"/>
                </a:p>
              </p:txBody>
            </p:sp>
          </p:grpSp>
          <p:sp>
            <p:nvSpPr>
              <p:cNvPr id="44" name="Freeform 7">
                <a:extLst>
                  <a:ext uri="{FF2B5EF4-FFF2-40B4-BE49-F238E27FC236}">
                    <a16:creationId xmlns:a16="http://schemas.microsoft.com/office/drawing/2014/main" id="{A7A4B441-E3B5-E0A9-A111-5214F043D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4261" y="6423057"/>
                <a:ext cx="4338375" cy="3026382"/>
              </a:xfrm>
              <a:custGeom>
                <a:avLst/>
                <a:gdLst>
                  <a:gd name="T0" fmla="*/ 485 w 971"/>
                  <a:gd name="T1" fmla="*/ 0 h 678"/>
                  <a:gd name="T2" fmla="*/ 0 w 971"/>
                  <a:gd name="T3" fmla="*/ 486 h 678"/>
                  <a:gd name="T4" fmla="*/ 485 w 971"/>
                  <a:gd name="T5" fmla="*/ 678 h 678"/>
                  <a:gd name="T6" fmla="*/ 971 w 971"/>
                  <a:gd name="T7" fmla="*/ 486 h 678"/>
                  <a:gd name="T8" fmla="*/ 485 w 971"/>
                  <a:gd name="T9" fmla="*/ 0 h 6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1" h="678">
                    <a:moveTo>
                      <a:pt x="485" y="0"/>
                    </a:moveTo>
                    <a:cubicBezTo>
                      <a:pt x="0" y="486"/>
                      <a:pt x="0" y="486"/>
                      <a:pt x="0" y="486"/>
                    </a:cubicBezTo>
                    <a:cubicBezTo>
                      <a:pt x="127" y="605"/>
                      <a:pt x="298" y="678"/>
                      <a:pt x="485" y="678"/>
                    </a:cubicBezTo>
                    <a:cubicBezTo>
                      <a:pt x="673" y="678"/>
                      <a:pt x="844" y="605"/>
                      <a:pt x="971" y="486"/>
                    </a:cubicBezTo>
                    <a:cubicBezTo>
                      <a:pt x="485" y="0"/>
                      <a:pt x="485" y="0"/>
                      <a:pt x="485" y="0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 dirty="0"/>
              </a:p>
            </p:txBody>
          </p:sp>
          <p:sp>
            <p:nvSpPr>
              <p:cNvPr id="41" name="Freeform 8">
                <a:extLst>
                  <a:ext uri="{FF2B5EF4-FFF2-40B4-BE49-F238E27FC236}">
                    <a16:creationId xmlns:a16="http://schemas.microsoft.com/office/drawing/2014/main" id="{2D2912BE-E2D6-72C3-1E2E-4970574951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3213" y="4120303"/>
                <a:ext cx="3022998" cy="4334993"/>
              </a:xfrm>
              <a:custGeom>
                <a:avLst/>
                <a:gdLst>
                  <a:gd name="T0" fmla="*/ 192 w 677"/>
                  <a:gd name="T1" fmla="*/ 0 h 971"/>
                  <a:gd name="T2" fmla="*/ 0 w 677"/>
                  <a:gd name="T3" fmla="*/ 485 h 971"/>
                  <a:gd name="T4" fmla="*/ 192 w 677"/>
                  <a:gd name="T5" fmla="*/ 971 h 971"/>
                  <a:gd name="T6" fmla="*/ 677 w 677"/>
                  <a:gd name="T7" fmla="*/ 485 h 971"/>
                  <a:gd name="T8" fmla="*/ 192 w 677"/>
                  <a:gd name="T9" fmla="*/ 0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7" h="971">
                    <a:moveTo>
                      <a:pt x="192" y="0"/>
                    </a:moveTo>
                    <a:cubicBezTo>
                      <a:pt x="73" y="127"/>
                      <a:pt x="0" y="298"/>
                      <a:pt x="0" y="485"/>
                    </a:cubicBezTo>
                    <a:cubicBezTo>
                      <a:pt x="0" y="673"/>
                      <a:pt x="73" y="844"/>
                      <a:pt x="192" y="971"/>
                    </a:cubicBezTo>
                    <a:cubicBezTo>
                      <a:pt x="677" y="485"/>
                      <a:pt x="677" y="485"/>
                      <a:pt x="677" y="485"/>
                    </a:cubicBezTo>
                    <a:cubicBezTo>
                      <a:pt x="192" y="0"/>
                      <a:pt x="192" y="0"/>
                      <a:pt x="192" y="0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38" name="Freeform 9">
                <a:extLst>
                  <a:ext uri="{FF2B5EF4-FFF2-40B4-BE49-F238E27FC236}">
                    <a16:creationId xmlns:a16="http://schemas.microsoft.com/office/drawing/2014/main" id="{1260CFE7-0982-70DD-5473-3CD02C1B58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73778" y="4120302"/>
                <a:ext cx="3022998" cy="4334994"/>
              </a:xfrm>
              <a:custGeom>
                <a:avLst/>
                <a:gdLst>
                  <a:gd name="T0" fmla="*/ 485 w 677"/>
                  <a:gd name="T1" fmla="*/ 0 h 971"/>
                  <a:gd name="T2" fmla="*/ 0 w 677"/>
                  <a:gd name="T3" fmla="*/ 485 h 971"/>
                  <a:gd name="T4" fmla="*/ 485 w 677"/>
                  <a:gd name="T5" fmla="*/ 971 h 971"/>
                  <a:gd name="T6" fmla="*/ 677 w 677"/>
                  <a:gd name="T7" fmla="*/ 485 h 971"/>
                  <a:gd name="T8" fmla="*/ 485 w 677"/>
                  <a:gd name="T9" fmla="*/ 0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7" h="971">
                    <a:moveTo>
                      <a:pt x="485" y="0"/>
                    </a:moveTo>
                    <a:cubicBezTo>
                      <a:pt x="0" y="485"/>
                      <a:pt x="0" y="485"/>
                      <a:pt x="0" y="485"/>
                    </a:cubicBezTo>
                    <a:cubicBezTo>
                      <a:pt x="485" y="971"/>
                      <a:pt x="485" y="971"/>
                      <a:pt x="485" y="971"/>
                    </a:cubicBezTo>
                    <a:cubicBezTo>
                      <a:pt x="604" y="844"/>
                      <a:pt x="677" y="673"/>
                      <a:pt x="677" y="485"/>
                    </a:cubicBezTo>
                    <a:cubicBezTo>
                      <a:pt x="677" y="298"/>
                      <a:pt x="604" y="127"/>
                      <a:pt x="485" y="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 dirty="0"/>
              </a:p>
            </p:txBody>
          </p:sp>
        </p:grp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62D1D6D-98D3-4E5C-C69B-4DB701FF07E2}"/>
                </a:ext>
              </a:extLst>
            </p:cNvPr>
            <p:cNvSpPr/>
            <p:nvPr/>
          </p:nvSpPr>
          <p:spPr>
            <a:xfrm>
              <a:off x="8881753" y="3692386"/>
              <a:ext cx="1492625" cy="1444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5400" dirty="0">
                  <a:solidFill>
                    <a:schemeClr val="bg1"/>
                  </a:solidFill>
                </a:rPr>
                <a:t>01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82E1C0D-BD50-95DC-46ED-1B7322C10677}"/>
                </a:ext>
              </a:extLst>
            </p:cNvPr>
            <p:cNvSpPr/>
            <p:nvPr/>
          </p:nvSpPr>
          <p:spPr>
            <a:xfrm>
              <a:off x="10762697" y="5506037"/>
              <a:ext cx="1492625" cy="1444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5400" dirty="0">
                  <a:solidFill>
                    <a:schemeClr val="bg1"/>
                  </a:solidFill>
                </a:rPr>
                <a:t>02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5DC41F8-DF87-B6B0-F9B4-58A4B0D0C5AE}"/>
                </a:ext>
              </a:extLst>
            </p:cNvPr>
            <p:cNvSpPr/>
            <p:nvPr/>
          </p:nvSpPr>
          <p:spPr>
            <a:xfrm>
              <a:off x="8881753" y="7472809"/>
              <a:ext cx="1492625" cy="1444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5400" dirty="0">
                  <a:solidFill>
                    <a:schemeClr val="bg1"/>
                  </a:solidFill>
                </a:rPr>
                <a:t>03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B005B2F-AC6F-50B2-50EA-F104DF8FED2E}"/>
                </a:ext>
              </a:extLst>
            </p:cNvPr>
            <p:cNvSpPr/>
            <p:nvPr/>
          </p:nvSpPr>
          <p:spPr>
            <a:xfrm>
              <a:off x="6934537" y="5506037"/>
              <a:ext cx="1492625" cy="1444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5400" dirty="0">
                  <a:solidFill>
                    <a:schemeClr val="bg1"/>
                  </a:solidFill>
                </a:rPr>
                <a:t>04</a:t>
              </a: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93AFD71A-EAEB-F6A6-8D7A-50AC26B8539A}"/>
              </a:ext>
            </a:extLst>
          </p:cNvPr>
          <p:cNvSpPr txBox="1"/>
          <p:nvPr/>
        </p:nvSpPr>
        <p:spPr>
          <a:xfrm>
            <a:off x="4330554" y="941325"/>
            <a:ext cx="3072630" cy="807319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FFFE53-D719-8633-92E8-0C487C373E13}"/>
              </a:ext>
            </a:extLst>
          </p:cNvPr>
          <p:cNvSpPr txBox="1"/>
          <p:nvPr/>
        </p:nvSpPr>
        <p:spPr>
          <a:xfrm>
            <a:off x="8088303" y="3188892"/>
            <a:ext cx="3072630" cy="807319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2000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4E229B8-1E2E-6268-C81E-670F96E23FC6}"/>
              </a:ext>
            </a:extLst>
          </p:cNvPr>
          <p:cNvSpPr txBox="1"/>
          <p:nvPr/>
        </p:nvSpPr>
        <p:spPr>
          <a:xfrm>
            <a:off x="862666" y="3188892"/>
            <a:ext cx="3072630" cy="807319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2000" b="1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100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6D0892B-C2D1-5E46-5782-15B2C1F36C59}"/>
              </a:ext>
            </a:extLst>
          </p:cNvPr>
          <p:cNvSpPr txBox="1"/>
          <p:nvPr/>
        </p:nvSpPr>
        <p:spPr>
          <a:xfrm>
            <a:off x="4474202" y="5591630"/>
            <a:ext cx="3072630" cy="807319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100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2345694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9</TotalTime>
  <Words>90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Open Sans Light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89</cp:revision>
  <dcterms:created xsi:type="dcterms:W3CDTF">2021-03-31T02:49:57Z</dcterms:created>
  <dcterms:modified xsi:type="dcterms:W3CDTF">2025-10-15T08:32:54Z</dcterms:modified>
  <cp:category/>
</cp:coreProperties>
</file>